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87" d="100"/>
          <a:sy n="87" d="100"/>
        </p:scale>
        <p:origin x="1092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1.06.2021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 smtClean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 smtClean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II. TOPLANTISI        </a:t>
            </a:r>
          </a:p>
          <a:p>
            <a:pPr algn="ctr"/>
            <a:r>
              <a:rPr lang="tr-TR" sz="3600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08.07.2021 </a:t>
            </a:r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80664404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</a:t>
                      </a:r>
                      <a:r>
                        <a:rPr lang="tr-TR" sz="1100" b="1" u="none" strike="noStrike" kern="1200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 smtClean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tarı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  <a:endParaRPr lang="tr-TR" sz="1100" b="1" u="none" strike="noStrike" kern="1200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</a:t>
                      </a:r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arasal</a:t>
                      </a:r>
                      <a:r>
                        <a:rPr lang="tr-TR" sz="1100" b="1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21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ılı Harcaması (TL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  <a:endParaRPr lang="tr-TR" sz="1100" u="none" strike="noStrike" kern="1200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şamasındaki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alan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</a:t>
                      </a:r>
                      <a:r>
                        <a:rPr lang="tr-TR" sz="110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 smtClean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 smtClean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</a:t>
            </a: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i İzleme </a:t>
            </a: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Raporu</a:t>
            </a:r>
          </a:p>
          <a:p>
            <a:pPr lvl="0" algn="ctr">
              <a:defRPr/>
            </a:pPr>
            <a:r>
              <a:rPr lang="tr-TR" sz="2000" b="1" kern="0" dirty="0" smtClean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0 DÖNEM SONU İTİBARİYLE)</a:t>
            </a:r>
            <a:endParaRPr lang="tr-TR" sz="2000" b="1" kern="0" dirty="0">
              <a:solidFill>
                <a:prstClr val="white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6271165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  <a:endParaRPr lang="tr-TR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r>
                        <a:rPr lang="tr-TR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3742713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 smtClean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 smtClean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Yeri (</a:t>
                      </a:r>
                      <a:r>
                        <a:rPr lang="tr-TR" sz="1050" b="1" u="none" strike="noStrike" dirty="0">
                          <a:effectLst/>
                        </a:rPr>
                        <a:t>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</a:t>
                      </a:r>
                      <a:r>
                        <a:rPr lang="tr-TR" sz="1050" b="1" u="none" strike="noStrike" dirty="0" smtClean="0">
                          <a:effectLst/>
                        </a:rPr>
                        <a:t>Bedeli (</a:t>
                      </a:r>
                      <a:r>
                        <a:rPr lang="tr-TR" sz="1050" b="1" u="none" strike="noStrike" dirty="0">
                          <a:effectLst/>
                        </a:rPr>
                        <a:t>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Harcamaları (</a:t>
                      </a:r>
                      <a:r>
                        <a:rPr lang="tr-TR" sz="1050" b="1" u="none" strike="noStrike" kern="1200" dirty="0">
                          <a:effectLst/>
                        </a:rPr>
                        <a:t>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1 </a:t>
                      </a:r>
                      <a:r>
                        <a:rPr lang="tr-TR" sz="105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Yıl İçi Harcama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2021</a:t>
                      </a:r>
                      <a:r>
                        <a:rPr lang="tr-TR" sz="1050" b="1" u="none" strike="noStrike" kern="1200" baseline="0" dirty="0" smtClean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Yılı Ödeneği (</a:t>
                      </a:r>
                      <a:r>
                        <a:rPr lang="tr-TR" sz="1050" b="1" u="none" strike="noStrike" kern="1200" dirty="0">
                          <a:effectLst/>
                        </a:rPr>
                        <a:t>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</a:t>
                      </a:r>
                      <a:r>
                        <a:rPr lang="tr-TR" sz="1050" b="1" u="none" strike="noStrike" kern="1200" dirty="0" smtClean="0">
                          <a:effectLst/>
                        </a:rPr>
                        <a:t>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 smtClean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 smtClean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 smtClean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 smtClean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 smtClean="0">
                <a:solidFill>
                  <a:schemeClr val="bg1"/>
                </a:solidFill>
              </a:rPr>
              <a:t>PROJEYE AİT GÖRSEL UNSUR EKLEYİNİZ</a:t>
            </a:r>
            <a:endParaRPr lang="tr-TR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</a:t>
                      </a: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ve</a:t>
                      </a:r>
                      <a:r>
                        <a:rPr lang="tr-TR" sz="12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  <a:endParaRPr lang="tr-TR" sz="12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 smtClean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  <a:endParaRPr lang="tr-TR" b="1" kern="0" dirty="0">
              <a:solidFill>
                <a:schemeClr val="bg1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 smtClean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  <a:endParaRPr lang="tr-TR" sz="900" b="1" dirty="0">
              <a:solidFill>
                <a:srgbClr val="FF0000"/>
              </a:soli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4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 smtClean="0">
                <a:solidFill>
                  <a:prstClr val="white"/>
                </a:solidFill>
                <a:latin typeface="Arial" charset="0"/>
              </a:rPr>
              <a:t>Sektörler ve Alt Sektörleri</a:t>
            </a:r>
            <a:endParaRPr lang="tr-TR" b="1" kern="0" dirty="0">
              <a:solidFill>
                <a:prstClr val="white"/>
              </a:solidFill>
              <a:latin typeface="Arial" charset="0"/>
            </a:endParaRP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</a:t>
                      </a:r>
                      <a:r>
                        <a:rPr lang="tr-TR" sz="900" u="none" strike="noStrike" dirty="0" smtClean="0">
                          <a:latin typeface="+mn-lt"/>
                        </a:rPr>
                        <a:t>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 smtClean="0">
                          <a:latin typeface="+mn-lt"/>
                        </a:rPr>
                        <a:t>Hidroelektrik </a:t>
                      </a:r>
                      <a:r>
                        <a:rPr lang="tr-TR" sz="900" u="none" strike="noStrike" dirty="0">
                          <a:latin typeface="+mn-lt"/>
                        </a:rPr>
                        <a:t>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Kent İçi </a:t>
                      </a:r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 smtClean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  <a:endParaRPr lang="tr-TR" sz="900" b="0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5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</a:t>
            </a:r>
            <a:r>
              <a:rPr lang="tr-TR" b="1" kern="0" dirty="0" smtClean="0">
                <a:solidFill>
                  <a:prstClr val="white"/>
                </a:solidFill>
                <a:latin typeface="Arial" charset="0"/>
              </a:rPr>
              <a:t>İçin </a:t>
            </a: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ersonel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Hazırlayan Kurum Görevlisinin</a:t>
                      </a:r>
                      <a:r>
                        <a:rPr lang="tr-TR" sz="1000" b="1" i="0" u="none" strike="noStrike" baseline="0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 smtClean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endParaRPr lang="tr-TR" sz="1000" b="1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 smtClean="0"/>
              <a:t>EK-6</a:t>
            </a:r>
            <a:endParaRPr lang="tr-TR" dirty="0"/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77</TotalTime>
  <Words>730</Words>
  <Application>Microsoft Office PowerPoint</Application>
  <PresentationFormat>Ekran Gösterisi (4:3)</PresentationFormat>
  <Paragraphs>324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Vahit COMART</cp:lastModifiedBy>
  <cp:revision>223</cp:revision>
  <cp:lastPrinted>2017-09-05T10:25:42Z</cp:lastPrinted>
  <dcterms:created xsi:type="dcterms:W3CDTF">2013-12-10T10:55:21Z</dcterms:created>
  <dcterms:modified xsi:type="dcterms:W3CDTF">2021-06-01T09:29:49Z</dcterms:modified>
</cp:coreProperties>
</file>